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4"/>
  </p:notesMasterIdLst>
  <p:sldIdLst>
    <p:sldId id="259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4" d="100"/>
          <a:sy n="64" d="100"/>
        </p:scale>
        <p:origin x="748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D4DFFC-C63C-455F-B63F-EBA645A57221}" type="datetimeFigureOut">
              <a:rPr lang="en-US" smtClean="0"/>
              <a:t>2/2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842E08-2E3F-47AE-B5F9-BE0D6F98C8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009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8618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1452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3354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742056" y="6235583"/>
            <a:ext cx="1839344" cy="365125"/>
          </a:xfrm>
        </p:spPr>
        <p:txBody>
          <a:bodyPr/>
          <a:lstStyle>
            <a:lvl1pPr>
              <a:defRPr sz="1100"/>
            </a:lvl1pPr>
          </a:lstStyle>
          <a:p>
            <a:fld id="{FA567EDC-EF02-4F2F-B76C-9A68C9E4D491}" type="datetime1">
              <a:rPr lang="fr-FR" smtClean="0"/>
              <a:t>28/02/2020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235583"/>
            <a:ext cx="4114800" cy="365125"/>
          </a:xfrm>
        </p:spPr>
        <p:txBody>
          <a:bodyPr/>
          <a:lstStyle>
            <a:lvl1pPr>
              <a:defRPr sz="1100"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235583"/>
            <a:ext cx="2743200" cy="365125"/>
          </a:xfrm>
        </p:spPr>
        <p:txBody>
          <a:bodyPr/>
          <a:lstStyle>
            <a:lvl1pPr>
              <a:defRPr sz="1100"/>
            </a:lvl1pPr>
          </a:lstStyle>
          <a:p>
            <a:fld id="{46EE1770-14DC-436A-87CC-E383ED68D18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7" name="Rectangle 6"/>
          <p:cNvSpPr/>
          <p:nvPr userDrawn="1"/>
        </p:nvSpPr>
        <p:spPr>
          <a:xfrm>
            <a:off x="0" y="1648801"/>
            <a:ext cx="8153400" cy="35604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2601" y="1941096"/>
            <a:ext cx="7069823" cy="1748589"/>
          </a:xfr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2601" y="3951033"/>
            <a:ext cx="7069823" cy="1210515"/>
          </a:xfrm>
        </p:spPr>
        <p:txBody>
          <a:bodyPr anchor="ctr" anchorCtr="0"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8" name="Forme libre 7"/>
          <p:cNvSpPr/>
          <p:nvPr userDrawn="1"/>
        </p:nvSpPr>
        <p:spPr>
          <a:xfrm flipH="1">
            <a:off x="6416040" y="3951036"/>
            <a:ext cx="1737360" cy="1258169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7175">
                <a:moveTo>
                  <a:pt x="1575345" y="1521120"/>
                </a:moveTo>
                <a:lnTo>
                  <a:pt x="1455427" y="1527175"/>
                </a:lnTo>
                <a:lnTo>
                  <a:pt x="1581616" y="1527175"/>
                </a:lnTo>
                <a:close/>
                <a:moveTo>
                  <a:pt x="0" y="0"/>
                </a:moveTo>
                <a:lnTo>
                  <a:pt x="0" y="1527175"/>
                </a:lnTo>
                <a:lnTo>
                  <a:pt x="1455387" y="1527175"/>
                </a:lnTo>
                <a:lnTo>
                  <a:pt x="1306877" y="1519676"/>
                </a:lnTo>
                <a:cubicBezTo>
                  <a:pt x="574344" y="1445283"/>
                  <a:pt x="2708" y="826637"/>
                  <a:pt x="2708" y="74477"/>
                </a:cubicBezTo>
                <a:lnTo>
                  <a:pt x="6168" y="595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1233993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Diapositive de tit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742056" y="6235583"/>
            <a:ext cx="1839344" cy="365125"/>
          </a:xfrm>
        </p:spPr>
        <p:txBody>
          <a:bodyPr/>
          <a:lstStyle>
            <a:lvl1pPr>
              <a:defRPr sz="1100"/>
            </a:lvl1pPr>
          </a:lstStyle>
          <a:p>
            <a:fld id="{FDD13C83-9AD6-4034-B311-B91FCB5100CD}" type="datetime1">
              <a:rPr lang="fr-FR" smtClean="0"/>
              <a:t>28/02/2020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235583"/>
            <a:ext cx="4114800" cy="365125"/>
          </a:xfrm>
        </p:spPr>
        <p:txBody>
          <a:bodyPr/>
          <a:lstStyle>
            <a:lvl1pPr>
              <a:defRPr sz="1100"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235583"/>
            <a:ext cx="2743200" cy="365125"/>
          </a:xfrm>
        </p:spPr>
        <p:txBody>
          <a:bodyPr/>
          <a:lstStyle>
            <a:lvl1pPr>
              <a:defRPr sz="1100"/>
            </a:lvl1pPr>
          </a:lstStyle>
          <a:p>
            <a:fld id="{46EE1770-14DC-436A-87CC-E383ED68D18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7" name="Rectangle 6"/>
          <p:cNvSpPr/>
          <p:nvPr userDrawn="1"/>
        </p:nvSpPr>
        <p:spPr>
          <a:xfrm>
            <a:off x="0" y="1648801"/>
            <a:ext cx="8153400" cy="35604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2601" y="1941096"/>
            <a:ext cx="7069823" cy="1748589"/>
          </a:xfrm>
        </p:spPr>
        <p:txBody>
          <a:bodyPr anchor="b" anchorCtr="0">
            <a:normAutofit/>
          </a:bodyPr>
          <a:lstStyle>
            <a:lvl1pPr algn="l">
              <a:defRPr sz="4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2601" y="3951033"/>
            <a:ext cx="7069823" cy="1210515"/>
          </a:xfrm>
        </p:spPr>
        <p:txBody>
          <a:bodyPr anchor="ctr" anchorCtr="0"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8" name="Forme libre 7"/>
          <p:cNvSpPr/>
          <p:nvPr userDrawn="1"/>
        </p:nvSpPr>
        <p:spPr>
          <a:xfrm flipH="1">
            <a:off x="6416040" y="3951036"/>
            <a:ext cx="1737360" cy="1258169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7175">
                <a:moveTo>
                  <a:pt x="1575345" y="1521120"/>
                </a:moveTo>
                <a:lnTo>
                  <a:pt x="1455427" y="1527175"/>
                </a:lnTo>
                <a:lnTo>
                  <a:pt x="1581616" y="1527175"/>
                </a:lnTo>
                <a:close/>
                <a:moveTo>
                  <a:pt x="0" y="0"/>
                </a:moveTo>
                <a:lnTo>
                  <a:pt x="0" y="1527175"/>
                </a:lnTo>
                <a:lnTo>
                  <a:pt x="1455387" y="1527175"/>
                </a:lnTo>
                <a:lnTo>
                  <a:pt x="1306877" y="1519676"/>
                </a:lnTo>
                <a:cubicBezTo>
                  <a:pt x="574344" y="1445283"/>
                  <a:pt x="2708" y="826637"/>
                  <a:pt x="2708" y="74477"/>
                </a:cubicBezTo>
                <a:lnTo>
                  <a:pt x="6168" y="595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3513327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E1C0A4-DB12-4B55-8AA2-FDC6310B1554}" type="datetime1">
              <a:rPr lang="fr-FR" smtClean="0"/>
              <a:t>28/02/2020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64081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429201"/>
            <a:ext cx="5181600" cy="4652963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429201"/>
            <a:ext cx="5181600" cy="4652963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9FC8E-BA57-4ACD-A9C7-CF53202711C4}" type="datetime1">
              <a:rPr lang="fr-FR" smtClean="0"/>
              <a:t>28/02/2020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8123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position personnalisé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1345722" y="6356352"/>
            <a:ext cx="2235679" cy="365125"/>
          </a:xfrm>
        </p:spPr>
        <p:txBody>
          <a:bodyPr/>
          <a:lstStyle/>
          <a:p>
            <a:fld id="{769C9CAC-8A23-4075-ABA6-98863C96B5AD}" type="datetime1">
              <a:rPr lang="fr-FR" smtClean="0"/>
              <a:t>28/02/2020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  <p:sp>
        <p:nvSpPr>
          <p:cNvPr id="8" name="Rectangle 7"/>
          <p:cNvSpPr/>
          <p:nvPr userDrawn="1"/>
        </p:nvSpPr>
        <p:spPr>
          <a:xfrm>
            <a:off x="-38102" y="1551619"/>
            <a:ext cx="6134100" cy="387035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16233" y="1785670"/>
            <a:ext cx="5625432" cy="344194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 sz="28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9" name="Forme libre 8"/>
          <p:cNvSpPr/>
          <p:nvPr userDrawn="1"/>
        </p:nvSpPr>
        <p:spPr>
          <a:xfrm flipH="1">
            <a:off x="5051143" y="4668254"/>
            <a:ext cx="1044855" cy="753716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  <a:gd name="connsiteX0" fmla="*/ 1575345 w 1581616"/>
              <a:gd name="connsiteY0" fmla="*/ 1515164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1575345 w 1581616"/>
              <a:gd name="connsiteY3" fmla="*/ 1515164 h 1521219"/>
              <a:gd name="connsiteX4" fmla="*/ 6168 w 1581616"/>
              <a:gd name="connsiteY4" fmla="*/ 0 h 1521219"/>
              <a:gd name="connsiteX5" fmla="*/ 0 w 1581616"/>
              <a:gd name="connsiteY5" fmla="*/ 1521219 h 1521219"/>
              <a:gd name="connsiteX6" fmla="*/ 1455387 w 1581616"/>
              <a:gd name="connsiteY6" fmla="*/ 1521219 h 1521219"/>
              <a:gd name="connsiteX7" fmla="*/ 1306877 w 1581616"/>
              <a:gd name="connsiteY7" fmla="*/ 1513720 h 1521219"/>
              <a:gd name="connsiteX8" fmla="*/ 2708 w 1581616"/>
              <a:gd name="connsiteY8" fmla="*/ 68521 h 1521219"/>
              <a:gd name="connsiteX9" fmla="*/ 6168 w 1581616"/>
              <a:gd name="connsiteY9" fmla="*/ 0 h 1521219"/>
              <a:gd name="connsiteX0" fmla="*/ 1581616 w 1581616"/>
              <a:gd name="connsiteY0" fmla="*/ 1521219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6168 w 1581616"/>
              <a:gd name="connsiteY3" fmla="*/ 0 h 1521219"/>
              <a:gd name="connsiteX4" fmla="*/ 0 w 1581616"/>
              <a:gd name="connsiteY4" fmla="*/ 1521219 h 1521219"/>
              <a:gd name="connsiteX5" fmla="*/ 1455387 w 1581616"/>
              <a:gd name="connsiteY5" fmla="*/ 1521219 h 1521219"/>
              <a:gd name="connsiteX6" fmla="*/ 1306877 w 1581616"/>
              <a:gd name="connsiteY6" fmla="*/ 1513720 h 1521219"/>
              <a:gd name="connsiteX7" fmla="*/ 2708 w 1581616"/>
              <a:gd name="connsiteY7" fmla="*/ 68521 h 1521219"/>
              <a:gd name="connsiteX8" fmla="*/ 6168 w 1581616"/>
              <a:gd name="connsiteY8" fmla="*/ 0 h 1521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1219">
                <a:moveTo>
                  <a:pt x="1581616" y="1521219"/>
                </a:moveTo>
                <a:lnTo>
                  <a:pt x="1455427" y="1521219"/>
                </a:lnTo>
                <a:lnTo>
                  <a:pt x="1581616" y="1521219"/>
                </a:lnTo>
                <a:close/>
                <a:moveTo>
                  <a:pt x="6168" y="0"/>
                </a:moveTo>
                <a:lnTo>
                  <a:pt x="0" y="1521219"/>
                </a:lnTo>
                <a:lnTo>
                  <a:pt x="1455387" y="1521219"/>
                </a:lnTo>
                <a:lnTo>
                  <a:pt x="1306877" y="1513720"/>
                </a:lnTo>
                <a:cubicBezTo>
                  <a:pt x="574344" y="1439327"/>
                  <a:pt x="2708" y="820681"/>
                  <a:pt x="2708" y="68521"/>
                </a:cubicBezTo>
                <a:lnTo>
                  <a:pt x="6168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1028623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91A7DB-6353-4A26-A82C-47DC9F9E57D9}" type="datetime1">
              <a:rPr lang="fr-FR" smtClean="0"/>
              <a:t>28/02/2020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48097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C6D9FB-447E-4A7D-84CE-8CFD28E9C249}" type="datetime1">
              <a:rPr lang="fr-FR" smtClean="0"/>
              <a:t>28/02/2020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274880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Blue Left S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16" descr="bandeau_4.jpg"/>
          <p:cNvPicPr>
            <a:picLocks noChangeAspect="1"/>
          </p:cNvPicPr>
          <p:nvPr userDrawn="1"/>
        </p:nvPicPr>
        <p:blipFill>
          <a:blip r:embed="rId6" cstate="print"/>
          <a:srcRect l="12825" r="28183"/>
          <a:stretch>
            <a:fillRect/>
          </a:stretch>
        </p:blipFill>
        <p:spPr>
          <a:xfrm>
            <a:off x="2" y="0"/>
            <a:ext cx="564596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2556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1146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 10" descr="fond_1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1312435" y="1014675"/>
            <a:ext cx="9567133" cy="638060"/>
          </a:xfrm>
        </p:spPr>
        <p:txBody>
          <a:bodyPr wrap="square" anchor="ctr" anchorCtr="0">
            <a:spAutoFit/>
          </a:bodyPr>
          <a:lstStyle>
            <a:lvl1pPr algn="l">
              <a:lnSpc>
                <a:spcPct val="95000"/>
              </a:lnSpc>
              <a:defRPr sz="3733" b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4432937" y="2910124"/>
            <a:ext cx="3470345" cy="902811"/>
          </a:xfr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95000"/>
              </a:lnSpc>
              <a:buNone/>
              <a:tabLst/>
              <a:defRPr sz="26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9" name="Picture 18" descr="Trait blanc titre.emf"/>
          <p:cNvPicPr>
            <a:picLocks/>
          </p:cNvPicPr>
          <p:nvPr userDrawn="1"/>
        </p:nvPicPr>
        <p:blipFill>
          <a:blip r:embed="rId7" cstate="print"/>
          <a:srcRect r="26331" b="1989"/>
          <a:stretch>
            <a:fillRect/>
          </a:stretch>
        </p:blipFill>
        <p:spPr>
          <a:xfrm>
            <a:off x="1103229" y="634782"/>
            <a:ext cx="135056" cy="1397852"/>
          </a:xfrm>
          <a:prstGeom prst="rect">
            <a:avLst/>
          </a:prstGeom>
        </p:spPr>
      </p:pic>
      <p:sp>
        <p:nvSpPr>
          <p:cNvPr id="21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432937" y="4093659"/>
            <a:ext cx="3470345" cy="715965"/>
          </a:xfr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95000"/>
              </a:lnSpc>
              <a:buNone/>
              <a:tabLst/>
              <a:defRPr sz="21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1" name="Picture 10" descr="Logo Nestlé WATERS.emf"/>
          <p:cNvPicPr>
            <a:picLocks/>
          </p:cNvPicPr>
          <p:nvPr userDrawn="1"/>
        </p:nvPicPr>
        <p:blipFill>
          <a:blip r:embed="rId8" cstate="print"/>
          <a:srcRect l="-20257" t="-24666" r="586" b="-2162"/>
          <a:stretch>
            <a:fillRect/>
          </a:stretch>
        </p:blipFill>
        <p:spPr>
          <a:xfrm>
            <a:off x="10780736" y="5787024"/>
            <a:ext cx="1235901" cy="918576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667105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1764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2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5103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28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6093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28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1961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28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24364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2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2465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2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6371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C804F8-47B8-40D3-B082-4BED4AB6AE88}" type="datetimeFigureOut">
              <a:rPr lang="en-US" smtClean="0"/>
              <a:t>2/2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5829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558" y="6342959"/>
            <a:ext cx="727399" cy="4212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8219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27747"/>
            <a:ext cx="10515600" cy="47492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098FB4-6667-414A-9C12-6474FA4AE8D0}" type="datetime1">
              <a:rPr lang="fr-FR" smtClean="0"/>
              <a:t>28/02/2020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  <p:sp>
        <p:nvSpPr>
          <p:cNvPr id="7" name="Forme libre 6"/>
          <p:cNvSpPr/>
          <p:nvPr/>
        </p:nvSpPr>
        <p:spPr>
          <a:xfrm flipH="1">
            <a:off x="10546080" y="5274933"/>
            <a:ext cx="1645920" cy="1583068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  <a:gd name="connsiteX0" fmla="*/ 1575345 w 1581616"/>
              <a:gd name="connsiteY0" fmla="*/ 1515164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1575345 w 1581616"/>
              <a:gd name="connsiteY3" fmla="*/ 1515164 h 1521219"/>
              <a:gd name="connsiteX4" fmla="*/ 6168 w 1581616"/>
              <a:gd name="connsiteY4" fmla="*/ 0 h 1521219"/>
              <a:gd name="connsiteX5" fmla="*/ 0 w 1581616"/>
              <a:gd name="connsiteY5" fmla="*/ 1521219 h 1521219"/>
              <a:gd name="connsiteX6" fmla="*/ 1455387 w 1581616"/>
              <a:gd name="connsiteY6" fmla="*/ 1521219 h 1521219"/>
              <a:gd name="connsiteX7" fmla="*/ 1306877 w 1581616"/>
              <a:gd name="connsiteY7" fmla="*/ 1513720 h 1521219"/>
              <a:gd name="connsiteX8" fmla="*/ 2708 w 1581616"/>
              <a:gd name="connsiteY8" fmla="*/ 68521 h 1521219"/>
              <a:gd name="connsiteX9" fmla="*/ 6168 w 1581616"/>
              <a:gd name="connsiteY9" fmla="*/ 0 h 1521219"/>
              <a:gd name="connsiteX0" fmla="*/ 1581616 w 1581616"/>
              <a:gd name="connsiteY0" fmla="*/ 1521219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6168 w 1581616"/>
              <a:gd name="connsiteY3" fmla="*/ 0 h 1521219"/>
              <a:gd name="connsiteX4" fmla="*/ 0 w 1581616"/>
              <a:gd name="connsiteY4" fmla="*/ 1521219 h 1521219"/>
              <a:gd name="connsiteX5" fmla="*/ 1455387 w 1581616"/>
              <a:gd name="connsiteY5" fmla="*/ 1521219 h 1521219"/>
              <a:gd name="connsiteX6" fmla="*/ 1306877 w 1581616"/>
              <a:gd name="connsiteY6" fmla="*/ 1513720 h 1521219"/>
              <a:gd name="connsiteX7" fmla="*/ 2708 w 1581616"/>
              <a:gd name="connsiteY7" fmla="*/ 68521 h 1521219"/>
              <a:gd name="connsiteX8" fmla="*/ 6168 w 1581616"/>
              <a:gd name="connsiteY8" fmla="*/ 0 h 1521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1219">
                <a:moveTo>
                  <a:pt x="1581616" y="1521219"/>
                </a:moveTo>
                <a:lnTo>
                  <a:pt x="1455427" y="1521219"/>
                </a:lnTo>
                <a:lnTo>
                  <a:pt x="1581616" y="1521219"/>
                </a:lnTo>
                <a:close/>
                <a:moveTo>
                  <a:pt x="6168" y="0"/>
                </a:moveTo>
                <a:lnTo>
                  <a:pt x="0" y="1521219"/>
                </a:lnTo>
                <a:lnTo>
                  <a:pt x="1455387" y="1521219"/>
                </a:lnTo>
                <a:lnTo>
                  <a:pt x="1306877" y="1513720"/>
                </a:lnTo>
                <a:cubicBezTo>
                  <a:pt x="574344" y="1439327"/>
                  <a:pt x="2708" y="820681"/>
                  <a:pt x="2708" y="68521"/>
                </a:cubicBezTo>
                <a:lnTo>
                  <a:pt x="6168" y="0"/>
                </a:lnTo>
                <a:close/>
              </a:path>
            </a:pathLst>
          </a:custGeom>
          <a:solidFill>
            <a:srgbClr val="209E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8" name="Forme libre 7"/>
          <p:cNvSpPr/>
          <p:nvPr/>
        </p:nvSpPr>
        <p:spPr>
          <a:xfrm rot="10800000" flipH="1">
            <a:off x="2" y="2"/>
            <a:ext cx="1234249" cy="1187117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  <a:gd name="connsiteX0" fmla="*/ 1575345 w 1581616"/>
              <a:gd name="connsiteY0" fmla="*/ 1515164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1575345 w 1581616"/>
              <a:gd name="connsiteY3" fmla="*/ 1515164 h 1521219"/>
              <a:gd name="connsiteX4" fmla="*/ 6168 w 1581616"/>
              <a:gd name="connsiteY4" fmla="*/ 0 h 1521219"/>
              <a:gd name="connsiteX5" fmla="*/ 0 w 1581616"/>
              <a:gd name="connsiteY5" fmla="*/ 1521219 h 1521219"/>
              <a:gd name="connsiteX6" fmla="*/ 1455387 w 1581616"/>
              <a:gd name="connsiteY6" fmla="*/ 1521219 h 1521219"/>
              <a:gd name="connsiteX7" fmla="*/ 1306877 w 1581616"/>
              <a:gd name="connsiteY7" fmla="*/ 1513720 h 1521219"/>
              <a:gd name="connsiteX8" fmla="*/ 2708 w 1581616"/>
              <a:gd name="connsiteY8" fmla="*/ 68521 h 1521219"/>
              <a:gd name="connsiteX9" fmla="*/ 6168 w 1581616"/>
              <a:gd name="connsiteY9" fmla="*/ 0 h 1521219"/>
              <a:gd name="connsiteX0" fmla="*/ 1581616 w 1581616"/>
              <a:gd name="connsiteY0" fmla="*/ 1521219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6168 w 1581616"/>
              <a:gd name="connsiteY3" fmla="*/ 0 h 1521219"/>
              <a:gd name="connsiteX4" fmla="*/ 0 w 1581616"/>
              <a:gd name="connsiteY4" fmla="*/ 1521219 h 1521219"/>
              <a:gd name="connsiteX5" fmla="*/ 1455387 w 1581616"/>
              <a:gd name="connsiteY5" fmla="*/ 1521219 h 1521219"/>
              <a:gd name="connsiteX6" fmla="*/ 1306877 w 1581616"/>
              <a:gd name="connsiteY6" fmla="*/ 1513720 h 1521219"/>
              <a:gd name="connsiteX7" fmla="*/ 2708 w 1581616"/>
              <a:gd name="connsiteY7" fmla="*/ 68521 h 1521219"/>
              <a:gd name="connsiteX8" fmla="*/ 6168 w 1581616"/>
              <a:gd name="connsiteY8" fmla="*/ 0 h 1521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1219">
                <a:moveTo>
                  <a:pt x="1581616" y="1521219"/>
                </a:moveTo>
                <a:lnTo>
                  <a:pt x="1455427" y="1521219"/>
                </a:lnTo>
                <a:lnTo>
                  <a:pt x="1581616" y="1521219"/>
                </a:lnTo>
                <a:close/>
                <a:moveTo>
                  <a:pt x="6168" y="0"/>
                </a:moveTo>
                <a:lnTo>
                  <a:pt x="0" y="1521219"/>
                </a:lnTo>
                <a:lnTo>
                  <a:pt x="1455387" y="1521219"/>
                </a:lnTo>
                <a:lnTo>
                  <a:pt x="1306877" y="1513720"/>
                </a:lnTo>
                <a:cubicBezTo>
                  <a:pt x="574344" y="1439327"/>
                  <a:pt x="2708" y="820681"/>
                  <a:pt x="2708" y="68521"/>
                </a:cubicBezTo>
                <a:lnTo>
                  <a:pt x="6168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3743096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accent5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152">
          <p15:clr>
            <a:srgbClr val="F26B43"/>
          </p15:clr>
        </p15:guide>
        <p15:guide id="4" pos="528">
          <p15:clr>
            <a:srgbClr val="F26B43"/>
          </p15:clr>
        </p15:guide>
        <p15:guide id="5" orient="horz" pos="1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0" y="88405"/>
            <a:ext cx="10515600" cy="493582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4000" dirty="0" smtClean="0"/>
              <a:t>AWS Legal Compliance Hierarchy </a:t>
            </a:r>
            <a:r>
              <a:rPr lang="en-US" sz="4000" dirty="0"/>
              <a:t>For </a:t>
            </a:r>
            <a:r>
              <a:rPr lang="en-US" sz="4000" dirty="0" smtClean="0"/>
              <a:t>Nestlé Pakistan Ltd. </a:t>
            </a:r>
            <a:r>
              <a:rPr lang="en-US" sz="4000" smtClean="0"/>
              <a:t>Port Qasim </a:t>
            </a:r>
            <a:endParaRPr lang="en-US" sz="4000" dirty="0"/>
          </a:p>
        </p:txBody>
      </p:sp>
      <p:grpSp>
        <p:nvGrpSpPr>
          <p:cNvPr id="5" name="Group 4"/>
          <p:cNvGrpSpPr/>
          <p:nvPr/>
        </p:nvGrpSpPr>
        <p:grpSpPr>
          <a:xfrm>
            <a:off x="4323425" y="581987"/>
            <a:ext cx="2272352" cy="1270046"/>
            <a:chOff x="9796120" y="1411112"/>
            <a:chExt cx="2272352" cy="1270046"/>
          </a:xfrm>
        </p:grpSpPr>
        <p:grpSp>
          <p:nvGrpSpPr>
            <p:cNvPr id="6" name="Group 5"/>
            <p:cNvGrpSpPr/>
            <p:nvPr/>
          </p:nvGrpSpPr>
          <p:grpSpPr>
            <a:xfrm>
              <a:off x="9796120" y="1411112"/>
              <a:ext cx="2272352" cy="1270046"/>
              <a:chOff x="10212081" y="2523441"/>
              <a:chExt cx="1945994" cy="1240603"/>
            </a:xfrm>
          </p:grpSpPr>
          <p:sp>
            <p:nvSpPr>
              <p:cNvPr id="8" name="Rectangle 7"/>
              <p:cNvSpPr>
                <a:spLocks noChangeArrowheads="1"/>
              </p:cNvSpPr>
              <p:nvPr/>
            </p:nvSpPr>
            <p:spPr bwMode="auto">
              <a:xfrm>
                <a:off x="10212081" y="2523441"/>
                <a:ext cx="1945994" cy="309788"/>
              </a:xfrm>
              <a:prstGeom prst="rect">
                <a:avLst/>
              </a:prstGeom>
              <a:solidFill>
                <a:srgbClr val="0070C0"/>
              </a:solidFill>
              <a:ln w="9525" algn="ctr">
                <a:noFill/>
                <a:miter lim="800000"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lIns="122191" tIns="61096" rIns="122191" bIns="61096" anchor="ctr"/>
              <a:lstStyle/>
              <a:p>
                <a:pPr algn="ctr" defTabSz="872585" eaLnBrk="0" hangingPunct="0"/>
                <a:r>
                  <a:rPr lang="en-GB" b="1" dirty="0" smtClean="0">
                    <a:solidFill>
                      <a:srgbClr val="FFFF00"/>
                    </a:solidFill>
                    <a:latin typeface="Calibri" panose="020F0502020204030204" pitchFamily="34" charset="0"/>
                    <a:ea typeface="ヒラギノ角ゴ Pro W3" pitchFamily="1" charset="-128"/>
                    <a:cs typeface="Calibri" panose="020F0502020204030204" pitchFamily="34" charset="0"/>
                  </a:rPr>
                  <a:t>Factory Manager</a:t>
                </a:r>
                <a:endParaRPr lang="en-GB" b="1" dirty="0">
                  <a:solidFill>
                    <a:srgbClr val="FFFF00"/>
                  </a:solidFill>
                  <a:latin typeface="Calibri" panose="020F0502020204030204" pitchFamily="34" charset="0"/>
                  <a:ea typeface="ヒラギノ角ゴ Pro W3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9" name="Rectangle 8"/>
              <p:cNvSpPr>
                <a:spLocks noChangeArrowheads="1"/>
              </p:cNvSpPr>
              <p:nvPr/>
            </p:nvSpPr>
            <p:spPr bwMode="auto">
              <a:xfrm>
                <a:off x="10225613" y="2914680"/>
                <a:ext cx="1918930" cy="849364"/>
              </a:xfrm>
              <a:prstGeom prst="rect">
                <a:avLst/>
              </a:prstGeom>
              <a:noFill/>
              <a:ln w="25400" algn="ctr">
                <a:solidFill>
                  <a:schemeClr val="accent1">
                    <a:lumMod val="75000"/>
                  </a:schemeClr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lIns="122191" tIns="61096" rIns="122191" bIns="61096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 eaLnBrk="0" hangingPunct="0"/>
                <a:endParaRPr lang="en-GB" sz="1400" i="1" dirty="0">
                  <a:solidFill>
                    <a:srgbClr val="1C1C1C"/>
                  </a:solidFill>
                  <a:ea typeface="ヒラギノ角ゴ Pro W3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Rectangle 9"/>
              <p:cNvSpPr>
                <a:spLocks noChangeArrowheads="1"/>
              </p:cNvSpPr>
              <p:nvPr/>
            </p:nvSpPr>
            <p:spPr bwMode="auto">
              <a:xfrm>
                <a:off x="10990043" y="3347540"/>
                <a:ext cx="1097497" cy="333539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Position: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Factory Manager(interim)</a:t>
                </a:r>
                <a:endParaRPr lang="en-US" sz="900" dirty="0">
                  <a:solidFill>
                    <a:srgbClr val="002060"/>
                  </a:solidFill>
                  <a:cs typeface="Calibri" panose="020F0502020204030204" pitchFamily="34" charset="0"/>
                </a:endParaRPr>
              </a:p>
            </p:txBody>
          </p:sp>
          <p:sp>
            <p:nvSpPr>
              <p:cNvPr id="11" name="Rectangle 10"/>
              <p:cNvSpPr>
                <a:spLocks noChangeArrowheads="1"/>
              </p:cNvSpPr>
              <p:nvPr/>
            </p:nvSpPr>
            <p:spPr bwMode="auto">
              <a:xfrm>
                <a:off x="11013547" y="2951440"/>
                <a:ext cx="1073992" cy="37755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Name: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Nasir </a:t>
                </a:r>
                <a:r>
                  <a:rPr lang="en-US" sz="900" dirty="0" err="1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Mansoor</a:t>
                </a:r>
                <a:endParaRPr lang="en-US" sz="900" dirty="0">
                  <a:solidFill>
                    <a:srgbClr val="002060"/>
                  </a:solidFill>
                  <a:cs typeface="Calibri" panose="020F0502020204030204" pitchFamily="34" charset="0"/>
                </a:endParaRPr>
              </a:p>
            </p:txBody>
          </p:sp>
        </p:grpSp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29B9C4A8-E537-43D5-8B03-4D906C5BDF4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21881" y="1854926"/>
              <a:ext cx="723389" cy="796514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292100" dist="139700" dir="2700000" algn="tl" rotWithShape="0">
                <a:srgbClr val="333333">
                  <a:alpha val="64999"/>
                </a:srgbClr>
              </a:outerShdw>
            </a:effectLst>
            <a:extLst/>
          </p:spPr>
        </p:pic>
      </p:grpSp>
      <p:sp>
        <p:nvSpPr>
          <p:cNvPr id="12" name="Rectangle 165"/>
          <p:cNvSpPr>
            <a:spLocks noChangeArrowheads="1"/>
          </p:cNvSpPr>
          <p:nvPr/>
        </p:nvSpPr>
        <p:spPr bwMode="auto">
          <a:xfrm>
            <a:off x="6639257" y="1413425"/>
            <a:ext cx="1223396" cy="449680"/>
          </a:xfrm>
          <a:prstGeom prst="rect">
            <a:avLst/>
          </a:prstGeom>
          <a:solidFill>
            <a:schemeClr val="bg1"/>
          </a:solidFill>
          <a:ln w="25400" algn="ctr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94448" tIns="47224" rIns="94448" bIns="47224"/>
          <a:lstStyle>
            <a:lvl1pPr defTabSz="1330325">
              <a:spcBef>
                <a:spcPct val="20000"/>
              </a:spcBef>
              <a:buFont typeface="Arial" panose="020B0604020202020204" pitchFamily="34" charset="0"/>
              <a:buChar char="•"/>
              <a:defRPr sz="4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1133475" indent="-434975" defTabSz="1330325">
              <a:spcBef>
                <a:spcPct val="20000"/>
              </a:spcBef>
              <a:buFont typeface="Arial" panose="020B0604020202020204" pitchFamily="34" charset="0"/>
              <a:buChar char="–"/>
              <a:defRPr sz="43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743075" indent="-347663" defTabSz="1330325">
              <a:spcBef>
                <a:spcPct val="20000"/>
              </a:spcBef>
              <a:buFont typeface="Arial" panose="020B0604020202020204" pitchFamily="34" charset="0"/>
              <a:buChar char="•"/>
              <a:defRPr sz="37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2439988" indent="-347663" defTabSz="1330325">
              <a:spcBef>
                <a:spcPct val="20000"/>
              </a:spcBef>
              <a:buFont typeface="Arial" panose="020B0604020202020204" pitchFamily="34" charset="0"/>
              <a:buChar char="–"/>
              <a:defRPr sz="3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3138488" indent="-347663" defTabSz="1330325">
              <a:spcBef>
                <a:spcPct val="20000"/>
              </a:spcBef>
              <a:buFont typeface="Arial" panose="020B0604020202020204" pitchFamily="34" charset="0"/>
              <a:buChar char="»"/>
              <a:defRPr sz="3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3595688" indent="-347663" defTabSz="13303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3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4052888" indent="-347663" defTabSz="13303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3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4510088" indent="-347663" defTabSz="13303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3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967288" indent="-347663" defTabSz="13303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3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  <a:buNone/>
              <a:defRPr/>
            </a:pPr>
            <a:r>
              <a:rPr lang="en-US" altLang="en-US" sz="900" dirty="0">
                <a:solidFill>
                  <a:srgbClr val="002060"/>
                </a:solidFill>
                <a:latin typeface="+mn-lt"/>
                <a:cs typeface="Calibri" panose="020F0502020204030204" pitchFamily="34" charset="0"/>
              </a:rPr>
              <a:t>Backup:</a:t>
            </a:r>
          </a:p>
          <a:p>
            <a:pPr algn="r">
              <a:spcBef>
                <a:spcPct val="0"/>
              </a:spcBef>
              <a:buFontTx/>
              <a:buNone/>
              <a:defRPr/>
            </a:pPr>
            <a:r>
              <a:rPr lang="en-US" altLang="en-US" sz="900" dirty="0" err="1" smtClean="0">
                <a:solidFill>
                  <a:srgbClr val="002060"/>
                </a:solidFill>
                <a:latin typeface="+mn-lt"/>
                <a:cs typeface="Calibri" panose="020F0502020204030204" pitchFamily="34" charset="0"/>
              </a:rPr>
              <a:t>Saqib</a:t>
            </a:r>
            <a:r>
              <a:rPr lang="en-US" altLang="en-US" sz="900" dirty="0" smtClean="0">
                <a:solidFill>
                  <a:srgbClr val="002060"/>
                </a:solidFill>
                <a:latin typeface="+mn-lt"/>
                <a:cs typeface="Calibri" panose="020F0502020204030204" pitchFamily="34" charset="0"/>
              </a:rPr>
              <a:t> </a:t>
            </a:r>
            <a:r>
              <a:rPr lang="en-US" altLang="en-US" sz="900" dirty="0" err="1" smtClean="0">
                <a:solidFill>
                  <a:srgbClr val="002060"/>
                </a:solidFill>
                <a:latin typeface="+mn-lt"/>
                <a:cs typeface="Calibri" panose="020F0502020204030204" pitchFamily="34" charset="0"/>
              </a:rPr>
              <a:t>Mujtaba</a:t>
            </a:r>
            <a:endParaRPr lang="en-US" altLang="en-US" sz="900" dirty="0">
              <a:solidFill>
                <a:srgbClr val="002060"/>
              </a:solidFill>
              <a:latin typeface="+mn-lt"/>
              <a:cs typeface="Calibri" panose="020F0502020204030204" pitchFamily="34" charset="0"/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4161465" y="2634780"/>
            <a:ext cx="2418510" cy="1270046"/>
            <a:chOff x="4645019" y="30150"/>
            <a:chExt cx="2181620" cy="1270046"/>
          </a:xfrm>
        </p:grpSpPr>
        <p:pic>
          <p:nvPicPr>
            <p:cNvPr id="27" name="Picture 26"/>
            <p:cNvPicPr>
              <a:picLocks noChangeAspect="1"/>
            </p:cNvPicPr>
            <p:nvPr/>
          </p:nvPicPr>
          <p:blipFill rotWithShape="1">
            <a:blip r:embed="rId3"/>
            <a:srcRect l="33738" t="30000" r="36434" b="52763"/>
            <a:stretch/>
          </p:blipFill>
          <p:spPr bwMode="auto">
            <a:xfrm>
              <a:off x="4707630" y="449129"/>
              <a:ext cx="710177" cy="81137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292100" dist="139700" dir="2700000" algn="tl" rotWithShape="0">
                <a:srgbClr val="333333">
                  <a:alpha val="64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8" name="Group 27"/>
            <p:cNvGrpSpPr/>
            <p:nvPr/>
          </p:nvGrpSpPr>
          <p:grpSpPr>
            <a:xfrm>
              <a:off x="4645019" y="30150"/>
              <a:ext cx="2181620" cy="1270046"/>
              <a:chOff x="10212081" y="2523441"/>
              <a:chExt cx="1945994" cy="1240603"/>
            </a:xfrm>
          </p:grpSpPr>
          <p:sp>
            <p:nvSpPr>
              <p:cNvPr id="29" name="Rectangle 28"/>
              <p:cNvSpPr>
                <a:spLocks noChangeArrowheads="1"/>
              </p:cNvSpPr>
              <p:nvPr/>
            </p:nvSpPr>
            <p:spPr bwMode="auto">
              <a:xfrm>
                <a:off x="10212081" y="2523441"/>
                <a:ext cx="1945994" cy="309788"/>
              </a:xfrm>
              <a:prstGeom prst="rect">
                <a:avLst/>
              </a:prstGeom>
              <a:solidFill>
                <a:srgbClr val="0070C0"/>
              </a:solidFill>
              <a:ln w="9525" algn="ctr">
                <a:noFill/>
                <a:miter lim="800000"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lIns="122191" tIns="61096" rIns="122191" bIns="61096" anchor="ctr"/>
              <a:lstStyle/>
              <a:p>
                <a:pPr algn="ctr" defTabSz="872585" eaLnBrk="0" hangingPunct="0"/>
                <a:r>
                  <a:rPr lang="en-GB" b="1" dirty="0" smtClean="0">
                    <a:solidFill>
                      <a:srgbClr val="FFFF00"/>
                    </a:solidFill>
                    <a:latin typeface="Calibri" panose="020F0502020204030204" pitchFamily="34" charset="0"/>
                    <a:ea typeface="ヒラギノ角ゴ Pro W3" pitchFamily="1" charset="-128"/>
                    <a:cs typeface="Calibri" panose="020F0502020204030204" pitchFamily="34" charset="0"/>
                  </a:rPr>
                  <a:t>Environment Manager</a:t>
                </a:r>
                <a:endParaRPr lang="en-GB" b="1" dirty="0">
                  <a:solidFill>
                    <a:srgbClr val="FFFF00"/>
                  </a:solidFill>
                  <a:latin typeface="Calibri" panose="020F0502020204030204" pitchFamily="34" charset="0"/>
                  <a:ea typeface="ヒラギノ角ゴ Pro W3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30" name="Rectangle 29"/>
              <p:cNvSpPr>
                <a:spLocks noChangeArrowheads="1"/>
              </p:cNvSpPr>
              <p:nvPr/>
            </p:nvSpPr>
            <p:spPr bwMode="auto">
              <a:xfrm>
                <a:off x="10225613" y="2914680"/>
                <a:ext cx="1918930" cy="849364"/>
              </a:xfrm>
              <a:prstGeom prst="rect">
                <a:avLst/>
              </a:prstGeom>
              <a:noFill/>
              <a:ln w="25400" algn="ctr">
                <a:solidFill>
                  <a:schemeClr val="accent1">
                    <a:lumMod val="75000"/>
                  </a:schemeClr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lIns="122191" tIns="61096" rIns="122191" bIns="61096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 eaLnBrk="0" hangingPunct="0"/>
                <a:endParaRPr lang="en-GB" sz="1400" i="1" dirty="0">
                  <a:solidFill>
                    <a:srgbClr val="1C1C1C"/>
                  </a:solidFill>
                  <a:ea typeface="ヒラギノ角ゴ Pro W3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31" name="Rectangle 30"/>
              <p:cNvSpPr>
                <a:spLocks noChangeArrowheads="1"/>
              </p:cNvSpPr>
              <p:nvPr/>
            </p:nvSpPr>
            <p:spPr bwMode="auto">
              <a:xfrm>
                <a:off x="10943722" y="3347540"/>
                <a:ext cx="1143818" cy="377732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Position: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NCE, Safety &amp; Environment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Manager</a:t>
                </a:r>
                <a:endParaRPr lang="en-US" sz="900" dirty="0">
                  <a:solidFill>
                    <a:srgbClr val="002060"/>
                  </a:solidFill>
                  <a:cs typeface="Calibri" panose="020F0502020204030204" pitchFamily="34" charset="0"/>
                </a:endParaRPr>
              </a:p>
            </p:txBody>
          </p:sp>
          <p:sp>
            <p:nvSpPr>
              <p:cNvPr id="32" name="Rectangle 31"/>
              <p:cNvSpPr>
                <a:spLocks noChangeArrowheads="1"/>
              </p:cNvSpPr>
              <p:nvPr/>
            </p:nvSpPr>
            <p:spPr bwMode="auto">
              <a:xfrm>
                <a:off x="10943722" y="2951440"/>
                <a:ext cx="1143818" cy="367482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Name: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Sidra Ehsan</a:t>
                </a:r>
                <a:endParaRPr lang="en-US" sz="900" dirty="0">
                  <a:solidFill>
                    <a:srgbClr val="002060"/>
                  </a:solidFill>
                  <a:cs typeface="Calibri" panose="020F0502020204030204" pitchFamily="34" charset="0"/>
                </a:endParaRPr>
              </a:p>
            </p:txBody>
          </p:sp>
        </p:grpSp>
      </p:grpSp>
      <p:grpSp>
        <p:nvGrpSpPr>
          <p:cNvPr id="33" name="Group 32"/>
          <p:cNvGrpSpPr/>
          <p:nvPr/>
        </p:nvGrpSpPr>
        <p:grpSpPr>
          <a:xfrm>
            <a:off x="6862604" y="2631522"/>
            <a:ext cx="2181620" cy="1270046"/>
            <a:chOff x="14586" y="2319432"/>
            <a:chExt cx="2181620" cy="1270046"/>
          </a:xfrm>
        </p:grpSpPr>
        <p:pic>
          <p:nvPicPr>
            <p:cNvPr id="34" name="Picture 33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5245"/>
            <a:stretch/>
          </p:blipFill>
          <p:spPr>
            <a:xfrm>
              <a:off x="80852" y="2757588"/>
              <a:ext cx="768339" cy="764831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292100" dist="139700" dir="2700000" algn="tl" rotWithShape="0">
                <a:srgbClr val="333333">
                  <a:alpha val="64999"/>
                </a:srgbClr>
              </a:outerShdw>
            </a:effectLst>
          </p:spPr>
        </p:pic>
        <p:grpSp>
          <p:nvGrpSpPr>
            <p:cNvPr id="35" name="Group 34"/>
            <p:cNvGrpSpPr/>
            <p:nvPr/>
          </p:nvGrpSpPr>
          <p:grpSpPr>
            <a:xfrm>
              <a:off x="14586" y="2319432"/>
              <a:ext cx="2181620" cy="1270046"/>
              <a:chOff x="10212081" y="2523441"/>
              <a:chExt cx="1945994" cy="1240603"/>
            </a:xfrm>
          </p:grpSpPr>
          <p:sp>
            <p:nvSpPr>
              <p:cNvPr id="36" name="Rectangle 35"/>
              <p:cNvSpPr>
                <a:spLocks noChangeArrowheads="1"/>
              </p:cNvSpPr>
              <p:nvPr/>
            </p:nvSpPr>
            <p:spPr bwMode="auto">
              <a:xfrm>
                <a:off x="10212081" y="2523441"/>
                <a:ext cx="1945994" cy="309788"/>
              </a:xfrm>
              <a:prstGeom prst="rect">
                <a:avLst/>
              </a:prstGeom>
              <a:solidFill>
                <a:srgbClr val="0070C0"/>
              </a:solidFill>
              <a:ln w="9525" algn="ctr">
                <a:noFill/>
                <a:miter lim="800000"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lIns="122191" tIns="61096" rIns="122191" bIns="61096" anchor="ctr"/>
              <a:lstStyle/>
              <a:p>
                <a:pPr algn="ctr" defTabSz="872585" eaLnBrk="0" hangingPunct="0"/>
                <a:r>
                  <a:rPr lang="en-GB" sz="1500" dirty="0" smtClean="0">
                    <a:solidFill>
                      <a:srgbClr val="FFFFFF"/>
                    </a:solidFill>
                    <a:latin typeface="Calibri" panose="020F0502020204030204" pitchFamily="34" charset="0"/>
                    <a:ea typeface="ヒラギノ角ゴ Pro W3" pitchFamily="1" charset="-128"/>
                    <a:cs typeface="Calibri" panose="020F0502020204030204" pitchFamily="34" charset="0"/>
                  </a:rPr>
                  <a:t>HR Manager</a:t>
                </a:r>
                <a:endParaRPr lang="en-GB" sz="1500" dirty="0">
                  <a:solidFill>
                    <a:srgbClr val="FFFFFF"/>
                  </a:solidFill>
                  <a:latin typeface="Calibri" panose="020F0502020204030204" pitchFamily="34" charset="0"/>
                  <a:ea typeface="ヒラギノ角ゴ Pro W3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37" name="Rectangle 36"/>
              <p:cNvSpPr>
                <a:spLocks noChangeArrowheads="1"/>
              </p:cNvSpPr>
              <p:nvPr/>
            </p:nvSpPr>
            <p:spPr bwMode="auto">
              <a:xfrm>
                <a:off x="10225613" y="2914680"/>
                <a:ext cx="1918930" cy="849364"/>
              </a:xfrm>
              <a:prstGeom prst="rect">
                <a:avLst/>
              </a:prstGeom>
              <a:noFill/>
              <a:ln w="25400" algn="ctr">
                <a:solidFill>
                  <a:schemeClr val="accent1">
                    <a:lumMod val="75000"/>
                  </a:schemeClr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lIns="122191" tIns="61096" rIns="122191" bIns="61096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 eaLnBrk="0" hangingPunct="0"/>
                <a:endParaRPr lang="en-GB" sz="1400" i="1" dirty="0">
                  <a:solidFill>
                    <a:srgbClr val="1C1C1C"/>
                  </a:solidFill>
                  <a:ea typeface="ヒラギノ角ゴ Pro W3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38" name="Rectangle 37"/>
              <p:cNvSpPr>
                <a:spLocks noChangeArrowheads="1"/>
              </p:cNvSpPr>
              <p:nvPr/>
            </p:nvSpPr>
            <p:spPr bwMode="auto">
              <a:xfrm>
                <a:off x="11013547" y="3347540"/>
                <a:ext cx="1073992" cy="372213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Position: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HR Manager</a:t>
                </a:r>
                <a:endParaRPr lang="en-US" sz="900" dirty="0">
                  <a:solidFill>
                    <a:srgbClr val="002060"/>
                  </a:solidFill>
                  <a:cs typeface="Calibri" panose="020F0502020204030204" pitchFamily="34" charset="0"/>
                </a:endParaRPr>
              </a:p>
            </p:txBody>
          </p:sp>
          <p:sp>
            <p:nvSpPr>
              <p:cNvPr id="39" name="Rectangle 38"/>
              <p:cNvSpPr>
                <a:spLocks noChangeArrowheads="1"/>
              </p:cNvSpPr>
              <p:nvPr/>
            </p:nvSpPr>
            <p:spPr bwMode="auto">
              <a:xfrm>
                <a:off x="11013547" y="2951440"/>
                <a:ext cx="1073992" cy="37755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Name: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Beenish Saba</a:t>
                </a:r>
                <a:endParaRPr lang="en-US" sz="900" dirty="0">
                  <a:solidFill>
                    <a:srgbClr val="002060"/>
                  </a:solidFill>
                  <a:cs typeface="Calibri" panose="020F0502020204030204" pitchFamily="34" charset="0"/>
                </a:endParaRPr>
              </a:p>
            </p:txBody>
          </p:sp>
        </p:grpSp>
      </p:grpSp>
      <p:cxnSp>
        <p:nvCxnSpPr>
          <p:cNvPr id="41" name="Straight Arrow Connector 40"/>
          <p:cNvCxnSpPr/>
          <p:nvPr/>
        </p:nvCxnSpPr>
        <p:spPr>
          <a:xfrm flipH="1" flipV="1">
            <a:off x="6291470" y="1841305"/>
            <a:ext cx="637400" cy="785582"/>
          </a:xfrm>
          <a:prstGeom prst="straightConnector1">
            <a:avLst/>
          </a:prstGeom>
          <a:ln w="2857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43"/>
          <p:cNvGrpSpPr/>
          <p:nvPr/>
        </p:nvGrpSpPr>
        <p:grpSpPr>
          <a:xfrm>
            <a:off x="3076180" y="4764783"/>
            <a:ext cx="2181620" cy="1270046"/>
            <a:chOff x="7196857" y="1255647"/>
            <a:chExt cx="2181620" cy="1270046"/>
          </a:xfrm>
        </p:grpSpPr>
        <p:pic>
          <p:nvPicPr>
            <p:cNvPr id="45" name="599cb88d-a16f-4993-a8af-8644a8d3bfac" descr="Image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640" r="9312" b="18184"/>
            <a:stretch/>
          </p:blipFill>
          <p:spPr bwMode="auto">
            <a:xfrm>
              <a:off x="7264800" y="1696124"/>
              <a:ext cx="766662" cy="78422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292100" dist="139700" dir="2700000" algn="tl" rotWithShape="0">
                <a:srgbClr val="333333">
                  <a:alpha val="64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6" name="Group 45"/>
            <p:cNvGrpSpPr/>
            <p:nvPr/>
          </p:nvGrpSpPr>
          <p:grpSpPr>
            <a:xfrm>
              <a:off x="7196857" y="1255647"/>
              <a:ext cx="2181620" cy="1270046"/>
              <a:chOff x="10212081" y="2523441"/>
              <a:chExt cx="1945994" cy="1240603"/>
            </a:xfrm>
          </p:grpSpPr>
          <p:sp>
            <p:nvSpPr>
              <p:cNvPr id="47" name="Rectangle 46"/>
              <p:cNvSpPr>
                <a:spLocks noChangeArrowheads="1"/>
              </p:cNvSpPr>
              <p:nvPr/>
            </p:nvSpPr>
            <p:spPr bwMode="auto">
              <a:xfrm>
                <a:off x="10212081" y="2523441"/>
                <a:ext cx="1945994" cy="309788"/>
              </a:xfrm>
              <a:prstGeom prst="rect">
                <a:avLst/>
              </a:prstGeom>
              <a:solidFill>
                <a:srgbClr val="0070C0"/>
              </a:solidFill>
              <a:ln w="9525" algn="ctr">
                <a:noFill/>
                <a:miter lim="800000"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lIns="122191" tIns="61096" rIns="122191" bIns="61096" anchor="ctr"/>
              <a:lstStyle/>
              <a:p>
                <a:pPr algn="ctr" defTabSz="872585" eaLnBrk="0" hangingPunct="0"/>
                <a:r>
                  <a:rPr lang="en-GB" sz="1500" dirty="0">
                    <a:solidFill>
                      <a:srgbClr val="FFFFFF"/>
                    </a:solidFill>
                    <a:latin typeface="Calibri" panose="020F0502020204030204" pitchFamily="34" charset="0"/>
                    <a:ea typeface="ヒラギノ角ゴ Pro W3" pitchFamily="1" charset="-128"/>
                    <a:cs typeface="Calibri" panose="020F0502020204030204" pitchFamily="34" charset="0"/>
                  </a:rPr>
                  <a:t>Site WR &amp; WT Champion</a:t>
                </a:r>
              </a:p>
            </p:txBody>
          </p:sp>
          <p:sp>
            <p:nvSpPr>
              <p:cNvPr id="48" name="Rectangle 47"/>
              <p:cNvSpPr>
                <a:spLocks noChangeArrowheads="1"/>
              </p:cNvSpPr>
              <p:nvPr/>
            </p:nvSpPr>
            <p:spPr bwMode="auto">
              <a:xfrm>
                <a:off x="10225613" y="2914680"/>
                <a:ext cx="1918930" cy="849364"/>
              </a:xfrm>
              <a:prstGeom prst="rect">
                <a:avLst/>
              </a:prstGeom>
              <a:noFill/>
              <a:ln w="25400" algn="ctr">
                <a:solidFill>
                  <a:schemeClr val="accent1">
                    <a:lumMod val="75000"/>
                  </a:schemeClr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lIns="122191" tIns="61096" rIns="122191" bIns="61096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 eaLnBrk="0" hangingPunct="0"/>
                <a:endParaRPr lang="en-GB" sz="1400" i="1" dirty="0">
                  <a:solidFill>
                    <a:srgbClr val="1C1C1C"/>
                  </a:solidFill>
                  <a:ea typeface="ヒラギノ角ゴ Pro W3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49" name="Rectangle 48"/>
              <p:cNvSpPr>
                <a:spLocks noChangeArrowheads="1"/>
              </p:cNvSpPr>
              <p:nvPr/>
            </p:nvSpPr>
            <p:spPr bwMode="auto">
              <a:xfrm>
                <a:off x="11013547" y="3347540"/>
                <a:ext cx="1073992" cy="372213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Position: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WR &amp; WT Process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 Specialist</a:t>
                </a:r>
                <a:endParaRPr lang="en-US" sz="900" dirty="0">
                  <a:solidFill>
                    <a:srgbClr val="002060"/>
                  </a:solidFill>
                  <a:cs typeface="Calibri" panose="020F0502020204030204" pitchFamily="34" charset="0"/>
                </a:endParaRPr>
              </a:p>
            </p:txBody>
          </p:sp>
          <p:sp>
            <p:nvSpPr>
              <p:cNvPr id="50" name="Rectangle 49"/>
              <p:cNvSpPr>
                <a:spLocks noChangeArrowheads="1"/>
              </p:cNvSpPr>
              <p:nvPr/>
            </p:nvSpPr>
            <p:spPr bwMode="auto">
              <a:xfrm>
                <a:off x="11013547" y="2951440"/>
                <a:ext cx="1073992" cy="37755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Name: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Shahzad Siddiqui</a:t>
                </a:r>
                <a:endParaRPr lang="en-US" sz="900" dirty="0">
                  <a:solidFill>
                    <a:srgbClr val="002060"/>
                  </a:solidFill>
                  <a:cs typeface="Calibri" panose="020F0502020204030204" pitchFamily="34" charset="0"/>
                </a:endParaRPr>
              </a:p>
            </p:txBody>
          </p:sp>
        </p:grpSp>
      </p:grpSp>
      <p:grpSp>
        <p:nvGrpSpPr>
          <p:cNvPr id="56" name="Group 55"/>
          <p:cNvGrpSpPr/>
          <p:nvPr/>
        </p:nvGrpSpPr>
        <p:grpSpPr>
          <a:xfrm>
            <a:off x="5886357" y="4764783"/>
            <a:ext cx="2351673" cy="1270046"/>
            <a:chOff x="2093177" y="1285252"/>
            <a:chExt cx="2351673" cy="1270046"/>
          </a:xfrm>
        </p:grpSpPr>
        <p:grpSp>
          <p:nvGrpSpPr>
            <p:cNvPr id="57" name="Group 56"/>
            <p:cNvGrpSpPr/>
            <p:nvPr/>
          </p:nvGrpSpPr>
          <p:grpSpPr>
            <a:xfrm>
              <a:off x="2093177" y="1285252"/>
              <a:ext cx="2351673" cy="1270046"/>
              <a:chOff x="10212081" y="2523441"/>
              <a:chExt cx="1945994" cy="1240603"/>
            </a:xfrm>
          </p:grpSpPr>
          <p:sp>
            <p:nvSpPr>
              <p:cNvPr id="59" name="Rectangle 58"/>
              <p:cNvSpPr>
                <a:spLocks noChangeArrowheads="1"/>
              </p:cNvSpPr>
              <p:nvPr/>
            </p:nvSpPr>
            <p:spPr bwMode="auto">
              <a:xfrm>
                <a:off x="10212081" y="2523441"/>
                <a:ext cx="1945994" cy="309788"/>
              </a:xfrm>
              <a:prstGeom prst="rect">
                <a:avLst/>
              </a:prstGeom>
              <a:solidFill>
                <a:srgbClr val="0070C0"/>
              </a:solidFill>
              <a:ln w="9525" algn="ctr">
                <a:noFill/>
                <a:miter lim="800000"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lIns="122191" tIns="61096" rIns="122191" bIns="61096" anchor="ctr"/>
              <a:lstStyle/>
              <a:p>
                <a:pPr algn="ctr" defTabSz="872585" eaLnBrk="0" hangingPunct="0"/>
                <a:r>
                  <a:rPr lang="en-GB" sz="1500" dirty="0" smtClean="0">
                    <a:solidFill>
                      <a:srgbClr val="FFFFFF"/>
                    </a:solidFill>
                    <a:latin typeface="Calibri" panose="020F0502020204030204" pitchFamily="34" charset="0"/>
                    <a:ea typeface="ヒラギノ角ゴ Pro W3" pitchFamily="1" charset="-128"/>
                    <a:cs typeface="Calibri" panose="020F0502020204030204" pitchFamily="34" charset="0"/>
                  </a:rPr>
                  <a:t>BSS-Safety &amp; Environment</a:t>
                </a:r>
                <a:endParaRPr lang="en-GB" sz="1500" dirty="0">
                  <a:solidFill>
                    <a:srgbClr val="FFFFFF"/>
                  </a:solidFill>
                  <a:latin typeface="Calibri" panose="020F0502020204030204" pitchFamily="34" charset="0"/>
                  <a:ea typeface="ヒラギノ角ゴ Pro W3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60" name="Rectangle 59"/>
              <p:cNvSpPr>
                <a:spLocks noChangeArrowheads="1"/>
              </p:cNvSpPr>
              <p:nvPr/>
            </p:nvSpPr>
            <p:spPr bwMode="auto">
              <a:xfrm>
                <a:off x="10225613" y="2914680"/>
                <a:ext cx="1918930" cy="849364"/>
              </a:xfrm>
              <a:prstGeom prst="rect">
                <a:avLst/>
              </a:prstGeom>
              <a:noFill/>
              <a:ln w="25400" algn="ctr">
                <a:solidFill>
                  <a:schemeClr val="accent1">
                    <a:lumMod val="75000"/>
                  </a:schemeClr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lIns="122191" tIns="61096" rIns="122191" bIns="61096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 eaLnBrk="0" hangingPunct="0"/>
                <a:endParaRPr lang="en-GB" sz="1400" i="1" dirty="0">
                  <a:solidFill>
                    <a:srgbClr val="1C1C1C"/>
                  </a:solidFill>
                  <a:ea typeface="ヒラギノ角ゴ Pro W3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61" name="Rectangle 60"/>
              <p:cNvSpPr>
                <a:spLocks noChangeArrowheads="1"/>
              </p:cNvSpPr>
              <p:nvPr/>
            </p:nvSpPr>
            <p:spPr bwMode="auto">
              <a:xfrm>
                <a:off x="10919481" y="3347540"/>
                <a:ext cx="1168058" cy="382304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Position: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BSS-Safety &amp; Environment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Coordinator</a:t>
                </a:r>
                <a:endParaRPr lang="en-US" sz="900" dirty="0">
                  <a:solidFill>
                    <a:srgbClr val="002060"/>
                  </a:solidFill>
                  <a:cs typeface="Calibri" panose="020F0502020204030204" pitchFamily="34" charset="0"/>
                </a:endParaRPr>
              </a:p>
            </p:txBody>
          </p:sp>
          <p:sp>
            <p:nvSpPr>
              <p:cNvPr id="62" name="Rectangle 61"/>
              <p:cNvSpPr>
                <a:spLocks noChangeArrowheads="1"/>
              </p:cNvSpPr>
              <p:nvPr/>
            </p:nvSpPr>
            <p:spPr bwMode="auto">
              <a:xfrm>
                <a:off x="10920182" y="2951440"/>
                <a:ext cx="1167357" cy="375767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Name: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Waqas Hussain</a:t>
                </a:r>
                <a:endParaRPr lang="en-US" sz="900" dirty="0">
                  <a:solidFill>
                    <a:srgbClr val="002060"/>
                  </a:solidFill>
                  <a:cs typeface="Calibri" panose="020F0502020204030204" pitchFamily="34" charset="0"/>
                </a:endParaRPr>
              </a:p>
            </p:txBody>
          </p:sp>
        </p:grpSp>
        <p:pic>
          <p:nvPicPr>
            <p:cNvPr id="58" name="Picture 5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914" b="24952"/>
            <a:stretch/>
          </p:blipFill>
          <p:spPr>
            <a:xfrm>
              <a:off x="2203857" y="1737531"/>
              <a:ext cx="727750" cy="782755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grpSp>
        <p:nvGrpSpPr>
          <p:cNvPr id="63" name="Group 62"/>
          <p:cNvGrpSpPr/>
          <p:nvPr/>
        </p:nvGrpSpPr>
        <p:grpSpPr>
          <a:xfrm>
            <a:off x="1512762" y="2626887"/>
            <a:ext cx="2181620" cy="1287577"/>
            <a:chOff x="4783102" y="5440192"/>
            <a:chExt cx="2181620" cy="1287577"/>
          </a:xfrm>
        </p:grpSpPr>
        <p:pic>
          <p:nvPicPr>
            <p:cNvPr id="64" name="Picture 6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57944" y="5883345"/>
              <a:ext cx="760702" cy="795092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292100" dist="139700" dir="2700000" algn="tl" rotWithShape="0">
                <a:srgbClr val="333333">
                  <a:alpha val="64999"/>
                </a:srgbClr>
              </a:outerShdw>
            </a:effectLst>
          </p:spPr>
        </p:pic>
        <p:grpSp>
          <p:nvGrpSpPr>
            <p:cNvPr id="65" name="Group 64"/>
            <p:cNvGrpSpPr/>
            <p:nvPr/>
          </p:nvGrpSpPr>
          <p:grpSpPr>
            <a:xfrm>
              <a:off x="4783102" y="5440192"/>
              <a:ext cx="2181620" cy="1287577"/>
              <a:chOff x="10211243" y="2506316"/>
              <a:chExt cx="1945994" cy="1257728"/>
            </a:xfrm>
          </p:grpSpPr>
          <p:sp>
            <p:nvSpPr>
              <p:cNvPr id="66" name="Rectangle 65"/>
              <p:cNvSpPr>
                <a:spLocks noChangeArrowheads="1"/>
              </p:cNvSpPr>
              <p:nvPr/>
            </p:nvSpPr>
            <p:spPr bwMode="auto">
              <a:xfrm>
                <a:off x="10211243" y="2506316"/>
                <a:ext cx="1945994" cy="309788"/>
              </a:xfrm>
              <a:prstGeom prst="rect">
                <a:avLst/>
              </a:prstGeom>
              <a:solidFill>
                <a:srgbClr val="0070C0"/>
              </a:solidFill>
              <a:ln w="9525" algn="ctr">
                <a:noFill/>
                <a:miter lim="800000"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lIns="122191" tIns="61096" rIns="122191" bIns="61096" anchor="ctr"/>
              <a:lstStyle/>
              <a:p>
                <a:pPr algn="ctr" defTabSz="872585" eaLnBrk="0" hangingPunct="0"/>
                <a:r>
                  <a:rPr lang="en-GB" sz="1400" dirty="0" smtClean="0">
                    <a:solidFill>
                      <a:srgbClr val="FFFFFF"/>
                    </a:solidFill>
                    <a:latin typeface="Calibri" panose="020F0502020204030204" pitchFamily="34" charset="0"/>
                    <a:ea typeface="ヒラギノ角ゴ Pro W3" pitchFamily="1" charset="-128"/>
                    <a:cs typeface="Calibri" panose="020F0502020204030204" pitchFamily="34" charset="0"/>
                  </a:rPr>
                  <a:t>Compliance Manager</a:t>
                </a:r>
                <a:endParaRPr lang="en-GB" sz="1400" dirty="0">
                  <a:solidFill>
                    <a:srgbClr val="FFFFFF"/>
                  </a:solidFill>
                  <a:latin typeface="Calibri" panose="020F0502020204030204" pitchFamily="34" charset="0"/>
                  <a:ea typeface="ヒラギノ角ゴ Pro W3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67" name="Rectangle 66"/>
              <p:cNvSpPr>
                <a:spLocks noChangeArrowheads="1"/>
              </p:cNvSpPr>
              <p:nvPr/>
            </p:nvSpPr>
            <p:spPr bwMode="auto">
              <a:xfrm>
                <a:off x="10225613" y="2914680"/>
                <a:ext cx="1918930" cy="849364"/>
              </a:xfrm>
              <a:prstGeom prst="rect">
                <a:avLst/>
              </a:prstGeom>
              <a:noFill/>
              <a:ln w="25400" algn="ctr">
                <a:solidFill>
                  <a:schemeClr val="accent1">
                    <a:lumMod val="75000"/>
                  </a:schemeClr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lIns="122191" tIns="61096" rIns="122191" bIns="61096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 eaLnBrk="0" hangingPunct="0"/>
                <a:endParaRPr lang="en-GB" sz="1400" i="1" dirty="0">
                  <a:solidFill>
                    <a:srgbClr val="1C1C1C"/>
                  </a:solidFill>
                  <a:ea typeface="ヒラギノ角ゴ Pro W3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68" name="Rectangle 67"/>
              <p:cNvSpPr>
                <a:spLocks noChangeArrowheads="1"/>
              </p:cNvSpPr>
              <p:nvPr/>
            </p:nvSpPr>
            <p:spPr bwMode="auto">
              <a:xfrm>
                <a:off x="11013547" y="3347540"/>
                <a:ext cx="1073992" cy="372213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Position: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F&amp;C Manager</a:t>
                </a:r>
                <a:endParaRPr lang="en-US" sz="900" dirty="0">
                  <a:solidFill>
                    <a:srgbClr val="002060"/>
                  </a:solidFill>
                  <a:cs typeface="Calibri" panose="020F0502020204030204" pitchFamily="34" charset="0"/>
                </a:endParaRPr>
              </a:p>
            </p:txBody>
          </p:sp>
          <p:sp>
            <p:nvSpPr>
              <p:cNvPr id="69" name="Rectangle 68"/>
              <p:cNvSpPr>
                <a:spLocks noChangeArrowheads="1"/>
              </p:cNvSpPr>
              <p:nvPr/>
            </p:nvSpPr>
            <p:spPr bwMode="auto">
              <a:xfrm>
                <a:off x="11013547" y="2951440"/>
                <a:ext cx="1073992" cy="37755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Name: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Abdullah Saeed</a:t>
                </a:r>
                <a:endParaRPr lang="en-US" sz="900" dirty="0">
                  <a:solidFill>
                    <a:srgbClr val="002060"/>
                  </a:solidFill>
                  <a:cs typeface="Calibri" panose="020F0502020204030204" pitchFamily="34" charset="0"/>
                </a:endParaRPr>
              </a:p>
            </p:txBody>
          </p:sp>
        </p:grpSp>
      </p:grpSp>
      <p:cxnSp>
        <p:nvCxnSpPr>
          <p:cNvPr id="3" name="Straight Arrow Connector 2"/>
          <p:cNvCxnSpPr>
            <a:stCxn id="9" idx="2"/>
          </p:cNvCxnSpPr>
          <p:nvPr/>
        </p:nvCxnSpPr>
        <p:spPr>
          <a:xfrm>
            <a:off x="5459601" y="1852033"/>
            <a:ext cx="0" cy="765216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/>
          <p:cNvCxnSpPr/>
          <p:nvPr/>
        </p:nvCxnSpPr>
        <p:spPr>
          <a:xfrm>
            <a:off x="4045226" y="4442791"/>
            <a:ext cx="6331" cy="32199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/>
          <p:nvPr/>
        </p:nvCxnSpPr>
        <p:spPr>
          <a:xfrm>
            <a:off x="6888127" y="4442791"/>
            <a:ext cx="6331" cy="32199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4045226" y="4442791"/>
            <a:ext cx="2832548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30" idx="2"/>
          </p:cNvCxnSpPr>
          <p:nvPr/>
        </p:nvCxnSpPr>
        <p:spPr>
          <a:xfrm>
            <a:off x="5370720" y="3904826"/>
            <a:ext cx="0" cy="537965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20529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">
  <a:themeElements>
    <a:clrScheme name="NW 1015">
      <a:dk1>
        <a:sysClr val="windowText" lastClr="000000"/>
      </a:dk1>
      <a:lt1>
        <a:sysClr val="window" lastClr="FFFFFF"/>
      </a:lt1>
      <a:dk2>
        <a:srgbClr val="7F7F7F"/>
      </a:dk2>
      <a:lt2>
        <a:srgbClr val="E7E6E6"/>
      </a:lt2>
      <a:accent1>
        <a:srgbClr val="009DE0"/>
      </a:accent1>
      <a:accent2>
        <a:srgbClr val="1D297B"/>
      </a:accent2>
      <a:accent3>
        <a:srgbClr val="952477"/>
      </a:accent3>
      <a:accent4>
        <a:srgbClr val="AC77B3"/>
      </a:accent4>
      <a:accent5>
        <a:srgbClr val="1371B7"/>
      </a:accent5>
      <a:accent6>
        <a:srgbClr val="4F4493"/>
      </a:accent6>
      <a:hlink>
        <a:srgbClr val="0563C1"/>
      </a:hlink>
      <a:folHlink>
        <a:srgbClr val="954F72"/>
      </a:folHlink>
    </a:clrScheme>
    <a:fontScheme name="Personnalisé 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06</TotalTime>
  <Words>90</Words>
  <Application>Microsoft Office PowerPoint</Application>
  <PresentationFormat>Widescreen</PresentationFormat>
  <Paragraphs>3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ヒラギノ角ゴ Pro W3</vt:lpstr>
      <vt:lpstr>Office Theme</vt:lpstr>
      <vt:lpstr>1</vt:lpstr>
      <vt:lpstr>think-cell Slide</vt:lpstr>
      <vt:lpstr>PowerPoint Presentation</vt:lpstr>
    </vt:vector>
  </TitlesOfParts>
  <Company>Nest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lamabad AWS Time lines</dc:title>
  <dc:creator>Afnan Amjad</dc:creator>
  <cp:keywords>AWS</cp:keywords>
  <cp:lastModifiedBy>Ehsan,Sidra,Karachi,NCE - Port Qasim</cp:lastModifiedBy>
  <cp:revision>76</cp:revision>
  <dcterms:created xsi:type="dcterms:W3CDTF">2017-05-03T09:22:46Z</dcterms:created>
  <dcterms:modified xsi:type="dcterms:W3CDTF">2020-02-28T07:58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Sidra.Ehsan@PK.nestle.com</vt:lpwstr>
  </property>
  <property fmtid="{D5CDD505-2E9C-101B-9397-08002B2CF9AE}" pid="5" name="MSIP_Label_1ada0a2f-b917-4d51-b0d0-d418a10c8b23_SetDate">
    <vt:lpwstr>2020-01-12T12:38:50.8604635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ActionId">
    <vt:lpwstr>f1387312-31c0-4255-a5dc-cca61b376bc2</vt:lpwstr>
  </property>
  <property fmtid="{D5CDD505-2E9C-101B-9397-08002B2CF9AE}" pid="9" name="MSIP_Label_1ada0a2f-b917-4d51-b0d0-d418a10c8b23_Extended_MSFT_Method">
    <vt:lpwstr>Automatic</vt:lpwstr>
  </property>
  <property fmtid="{D5CDD505-2E9C-101B-9397-08002B2CF9AE}" pid="10" name="Sensitivity">
    <vt:lpwstr>General Use</vt:lpwstr>
  </property>
</Properties>
</file>